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6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.xml" ContentType="application/vnd.openxmlformats-officedocument.theme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9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0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1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2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3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4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5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16.xml" ContentType="application/vnd.openxmlformats-officedocument.theme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67" r:id="rId2"/>
    <p:sldMasterId id="2147483821" r:id="rId3"/>
    <p:sldMasterId id="2147483884" r:id="rId4"/>
    <p:sldMasterId id="2147483896" r:id="rId5"/>
    <p:sldMasterId id="2147483908" r:id="rId6"/>
    <p:sldMasterId id="2147483920" r:id="rId7"/>
    <p:sldMasterId id="2147483933" r:id="rId8"/>
    <p:sldMasterId id="2147483936" r:id="rId9"/>
    <p:sldMasterId id="2147484057" r:id="rId10"/>
    <p:sldMasterId id="2147484124" r:id="rId11"/>
    <p:sldMasterId id="2147484136" r:id="rId12"/>
    <p:sldMasterId id="2147484148" r:id="rId13"/>
    <p:sldMasterId id="2147484160" r:id="rId14"/>
    <p:sldMasterId id="2147484382" r:id="rId15"/>
    <p:sldMasterId id="2147484448" r:id="rId16"/>
    <p:sldMasterId id="2147484514" r:id="rId17"/>
  </p:sldMasterIdLst>
  <p:notesMasterIdLst>
    <p:notesMasterId r:id="rId26"/>
  </p:notesMasterIdLst>
  <p:sldIdLst>
    <p:sldId id="566" r:id="rId18"/>
    <p:sldId id="413" r:id="rId19"/>
    <p:sldId id="340" r:id="rId20"/>
    <p:sldId id="560" r:id="rId21"/>
    <p:sldId id="561" r:id="rId22"/>
    <p:sldId id="567" r:id="rId23"/>
    <p:sldId id="565" r:id="rId24"/>
    <p:sldId id="568" r:id="rId25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4077"/>
    <a:srgbClr val="075493"/>
    <a:srgbClr val="00385D"/>
    <a:srgbClr val="4BC7FF"/>
    <a:srgbClr val="B9E9FF"/>
    <a:srgbClr val="0000FF"/>
    <a:srgbClr val="808080"/>
    <a:srgbClr val="4F81BD"/>
    <a:srgbClr val="4070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91600" autoAdjust="0"/>
  </p:normalViewPr>
  <p:slideViewPr>
    <p:cSldViewPr>
      <p:cViewPr>
        <p:scale>
          <a:sx n="106" d="100"/>
          <a:sy n="106" d="100"/>
        </p:scale>
        <p:origin x="-1878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204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t>15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071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59067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:\Марина\Седова Н.Г\фон презинтации-3.ti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13"/>
          <a:stretch>
            <a:fillRect/>
          </a:stretch>
        </p:blipFill>
        <p:spPr bwMode="auto">
          <a:xfrm>
            <a:off x="0" y="3952875"/>
            <a:ext cx="9144000" cy="290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 rot="5400000">
            <a:off x="7947820" y="6133306"/>
            <a:ext cx="1439862" cy="31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 rot="10800000" flipH="1">
            <a:off x="-6350" y="6677025"/>
            <a:ext cx="9144000" cy="1588"/>
          </a:xfrm>
          <a:prstGeom prst="line">
            <a:avLst/>
          </a:prstGeom>
          <a:ln w="12700">
            <a:solidFill>
              <a:srgbClr val="004A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 userDrawn="1"/>
        </p:nvCxnSpPr>
        <p:spPr>
          <a:xfrm>
            <a:off x="-15875" y="6586538"/>
            <a:ext cx="9180513" cy="1587"/>
          </a:xfrm>
          <a:prstGeom prst="line">
            <a:avLst/>
          </a:prstGeom>
          <a:ln w="95250">
            <a:solidFill>
              <a:srgbClr val="004A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 rot="5400000">
            <a:off x="7880351" y="6132512"/>
            <a:ext cx="1441450" cy="3175"/>
          </a:xfrm>
          <a:prstGeom prst="line">
            <a:avLst/>
          </a:prstGeom>
          <a:ln w="476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2273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6D46A1-8B43-4112-83D4-E40F183DA32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1087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1121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1045895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0809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5701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1798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014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8720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168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8814941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08783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01041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9648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41852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06120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226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87788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32767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2157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0414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9798871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6952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44232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71208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41891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62742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77715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62453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752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23423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8032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6374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07267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10960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3556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464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0039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359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92516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14320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 smtClean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4980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1905068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8335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11697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46781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82292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6645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58647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13141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97706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4276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9638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9421091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61440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33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21716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67420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48789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6064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9127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86107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92913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494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1191927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77563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00192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4739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18247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23280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27500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89958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29735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12930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3936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7271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51720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70337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55060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80736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6861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37002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34231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17801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56792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26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691638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2301278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89366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0644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3926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99159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27667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82957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37088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9990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19889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643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0039847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2288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89175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7361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67487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6973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58052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08881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14368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66036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5666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835170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83771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63658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5733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4927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15.12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1249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697365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39895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9398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71076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515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0072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6107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35507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05449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18297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68757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83255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83105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04333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565815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6776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3637589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29652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773748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79804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31978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31173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78016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83054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3683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20307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20904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2358699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64054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22499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74712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134917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9651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85965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80173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0338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519238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771605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68679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8644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081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202531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73574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353752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89962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05176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9390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6697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557840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189528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12712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5686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016222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6977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35893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8448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2986002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640056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33848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8152059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707850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53988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632908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1568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126937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6965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1051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27183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81319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984359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94364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86421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739808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434583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156406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774029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504335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389833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950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408013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705704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824564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095138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94285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731815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23435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078733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4984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015047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220658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102992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44075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836190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110316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43" y="4797446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96029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52511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420210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381482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469461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538942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874962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4143760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268940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6613034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876973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74503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03510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5159040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691803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3966612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372037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4561593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348890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6176603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86517442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941858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99111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3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4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0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4.xml"/><Relationship Id="rId3" Type="http://schemas.openxmlformats.org/officeDocument/2006/relationships/slideLayout" Target="../slideLayouts/slideLayout249.xml"/><Relationship Id="rId7" Type="http://schemas.openxmlformats.org/officeDocument/2006/relationships/slideLayout" Target="../slideLayouts/slideLayout25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248.xml"/><Relationship Id="rId1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52.xml"/><Relationship Id="rId11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51.xml"/><Relationship Id="rId10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42" Type="http://schemas.openxmlformats.org/officeDocument/2006/relationships/slideLayout" Target="../slideLayouts/slideLayout91.xml"/><Relationship Id="rId47" Type="http://schemas.openxmlformats.org/officeDocument/2006/relationships/slideLayout" Target="../slideLayouts/slideLayout96.xml"/><Relationship Id="rId50" Type="http://schemas.openxmlformats.org/officeDocument/2006/relationships/slideLayout" Target="../slideLayouts/slideLayout99.xml"/><Relationship Id="rId55" Type="http://schemas.openxmlformats.org/officeDocument/2006/relationships/vmlDrawing" Target="../drawings/vmlDrawing2.v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7.xml"/><Relationship Id="rId46" Type="http://schemas.openxmlformats.org/officeDocument/2006/relationships/slideLayout" Target="../slideLayouts/slideLayout95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0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37" Type="http://schemas.openxmlformats.org/officeDocument/2006/relationships/slideLayout" Target="../slideLayouts/slideLayout86.xml"/><Relationship Id="rId40" Type="http://schemas.openxmlformats.org/officeDocument/2006/relationships/slideLayout" Target="../slideLayouts/slideLayout89.xml"/><Relationship Id="rId45" Type="http://schemas.openxmlformats.org/officeDocument/2006/relationships/slideLayout" Target="../slideLayouts/slideLayout94.xml"/><Relationship Id="rId53" Type="http://schemas.openxmlformats.org/officeDocument/2006/relationships/slideLayout" Target="../slideLayouts/slideLayout102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49" Type="http://schemas.openxmlformats.org/officeDocument/2006/relationships/slideLayout" Target="../slideLayouts/slideLayout98.xml"/><Relationship Id="rId57" Type="http://schemas.openxmlformats.org/officeDocument/2006/relationships/oleObject" Target="../embeddings/oleObject2.bin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4" Type="http://schemas.openxmlformats.org/officeDocument/2006/relationships/slideLayout" Target="../slideLayouts/slideLayout93.xml"/><Relationship Id="rId52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Relationship Id="rId43" Type="http://schemas.openxmlformats.org/officeDocument/2006/relationships/slideLayout" Target="../slideLayouts/slideLayout92.xml"/><Relationship Id="rId48" Type="http://schemas.openxmlformats.org/officeDocument/2006/relationships/slideLayout" Target="../slideLayouts/slideLayout97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57.xml"/><Relationship Id="rId51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5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498193677"/>
              </p:ext>
            </p:extLst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"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891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934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42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26" r:id="rId2"/>
    <p:sldLayoutId id="2147484127" r:id="rId3"/>
    <p:sldLayoutId id="2147484128" r:id="rId4"/>
    <p:sldLayoutId id="2147484129" r:id="rId5"/>
    <p:sldLayoutId id="2147484130" r:id="rId6"/>
    <p:sldLayoutId id="2147484131" r:id="rId7"/>
    <p:sldLayoutId id="2147484132" r:id="rId8"/>
    <p:sldLayoutId id="2147484133" r:id="rId9"/>
    <p:sldLayoutId id="2147484134" r:id="rId10"/>
    <p:sldLayoutId id="214748413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4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484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996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  <p:sldLayoutId id="2147484165" r:id="rId5"/>
    <p:sldLayoutId id="2147484166" r:id="rId6"/>
    <p:sldLayoutId id="2147484167" r:id="rId7"/>
    <p:sldLayoutId id="2147484168" r:id="rId8"/>
    <p:sldLayoutId id="2147484169" r:id="rId9"/>
    <p:sldLayoutId id="2147484170" r:id="rId10"/>
    <p:sldLayoutId id="21474841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140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  <p:sldLayoutId id="2147484385" r:id="rId3"/>
    <p:sldLayoutId id="2147484386" r:id="rId4"/>
    <p:sldLayoutId id="2147484387" r:id="rId5"/>
    <p:sldLayoutId id="2147484388" r:id="rId6"/>
    <p:sldLayoutId id="2147484389" r:id="rId7"/>
    <p:sldLayoutId id="2147484390" r:id="rId8"/>
    <p:sldLayoutId id="2147484391" r:id="rId9"/>
    <p:sldLayoutId id="2147484392" r:id="rId10"/>
    <p:sldLayoutId id="214748439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91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1" r:id="rId3"/>
    <p:sldLayoutId id="2147484452" r:id="rId4"/>
    <p:sldLayoutId id="2147484453" r:id="rId5"/>
    <p:sldLayoutId id="2147484454" r:id="rId6"/>
    <p:sldLayoutId id="2147484455" r:id="rId7"/>
    <p:sldLayoutId id="2147484456" r:id="rId8"/>
    <p:sldLayoutId id="2147484457" r:id="rId9"/>
    <p:sldLayoutId id="2147484458" r:id="rId10"/>
    <p:sldLayoutId id="21474844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43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  <p:sldLayoutId id="214748452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6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28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047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  <p:sldLayoutId id="2147483794" r:id="rId26"/>
    <p:sldLayoutId id="2147483795" r:id="rId27"/>
    <p:sldLayoutId id="2147483796" r:id="rId28"/>
    <p:sldLayoutId id="2147483797" r:id="rId29"/>
    <p:sldLayoutId id="2147483798" r:id="rId30"/>
    <p:sldLayoutId id="2147483799" r:id="rId31"/>
    <p:sldLayoutId id="2147483800" r:id="rId32"/>
    <p:sldLayoutId id="2147483801" r:id="rId33"/>
    <p:sldLayoutId id="2147483802" r:id="rId34"/>
    <p:sldLayoutId id="2147483803" r:id="rId35"/>
    <p:sldLayoutId id="2147483804" r:id="rId36"/>
    <p:sldLayoutId id="2147483805" r:id="rId37"/>
    <p:sldLayoutId id="2147483806" r:id="rId38"/>
    <p:sldLayoutId id="2147483807" r:id="rId39"/>
    <p:sldLayoutId id="2147483808" r:id="rId40"/>
    <p:sldLayoutId id="2147483809" r:id="rId41"/>
    <p:sldLayoutId id="2147483810" r:id="rId42"/>
    <p:sldLayoutId id="2147483811" r:id="rId43"/>
    <p:sldLayoutId id="2147483812" r:id="rId44"/>
    <p:sldLayoutId id="2147483813" r:id="rId45"/>
    <p:sldLayoutId id="2147483814" r:id="rId46"/>
    <p:sldLayoutId id="2147483815" r:id="rId47"/>
    <p:sldLayoutId id="2147483816" r:id="rId48"/>
    <p:sldLayoutId id="2147483817" r:id="rId49"/>
    <p:sldLayoutId id="2147483818" r:id="rId50"/>
    <p:sldLayoutId id="2147483819" r:id="rId51"/>
    <p:sldLayoutId id="2147483820" r:id="rId52"/>
    <p:sldLayoutId id="2147483935" r:id="rId5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544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32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259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7742489" y="6485626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34687" y="2158172"/>
            <a:ext cx="8693150" cy="2308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Обязательная информация,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</a:b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представляемая в презентации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endParaRPr lang="ru-RU" altLang="ru-RU" sz="2000" cap="all" dirty="0" smtClean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По закрытию НИР/ОКР в целом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endParaRPr lang="ru-RU" altLang="ru-RU" sz="2000" cap="all" dirty="0" smtClean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На НКС</a:t>
            </a:r>
            <a:endParaRPr lang="ru-RU" altLang="ru-RU" sz="2000" cap="all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endParaRPr lang="ru-RU" altLang="ru-RU" sz="2000" cap="all" dirty="0" smtClean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91348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7742489" y="6485626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32234" y="1696186"/>
            <a:ext cx="8693150" cy="1016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НИР (ОКР</a:t>
            </a: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«</a:t>
            </a:r>
            <a:r>
              <a:rPr lang="ru-RU" altLang="ru-RU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Н</a:t>
            </a:r>
            <a:r>
              <a:rPr lang="ru-RU" altLang="ru-RU" sz="20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аименование темы</a:t>
            </a: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»</a:t>
            </a:r>
            <a:endParaRPr lang="ru-RU" altLang="ru-RU" sz="2000" cap="all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Шифр </a:t>
            </a:r>
            <a:r>
              <a:rPr lang="ru-RU" altLang="ru-RU" sz="2000" cap="all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тем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2996952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dirty="0">
                <a:solidFill>
                  <a:schemeClr val="tx2"/>
                </a:solidFill>
              </a:rPr>
              <a:t>Государственный контракт № </a:t>
            </a:r>
            <a:r>
              <a:rPr lang="ru-RU" altLang="ru-RU" dirty="0" smtClean="0">
                <a:solidFill>
                  <a:schemeClr val="tx2"/>
                </a:solidFill>
              </a:rPr>
              <a:t>……………………… </a:t>
            </a:r>
            <a:r>
              <a:rPr lang="ru-RU" altLang="ru-RU" dirty="0">
                <a:solidFill>
                  <a:schemeClr val="tx2"/>
                </a:solidFill>
              </a:rPr>
              <a:t>от </a:t>
            </a:r>
            <a:r>
              <a:rPr lang="ru-RU" altLang="ru-RU" dirty="0" smtClean="0">
                <a:solidFill>
                  <a:schemeClr val="tx2"/>
                </a:solidFill>
              </a:rPr>
              <a:t>…………………..</a:t>
            </a:r>
            <a:endParaRPr lang="ru-RU" altLang="ru-RU" dirty="0">
              <a:solidFill>
                <a:schemeClr val="tx2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4596" y="4077072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dirty="0" smtClean="0">
                <a:solidFill>
                  <a:schemeClr val="tx2"/>
                </a:solidFill>
              </a:rPr>
              <a:t>Докладчик: руководитель работы  - должность, Ф.И.О.</a:t>
            </a:r>
            <a:endParaRPr lang="ru-RU" altLang="ru-RU" dirty="0">
              <a:solidFill>
                <a:schemeClr val="tx2"/>
              </a:solidFill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cap="none" dirty="0" smtClean="0"/>
              <a:t>Название организации</a:t>
            </a:r>
            <a:endParaRPr lang="ru-RU" cap="none" dirty="0"/>
          </a:p>
        </p:txBody>
      </p:sp>
      <p:sp>
        <p:nvSpPr>
          <p:cNvPr id="10" name="TextBox 9"/>
          <p:cNvSpPr txBox="1"/>
          <p:nvPr/>
        </p:nvSpPr>
        <p:spPr>
          <a:xfrm>
            <a:off x="3347864" y="6309320"/>
            <a:ext cx="2448272" cy="27658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rgbClr val="000000"/>
                </a:solidFill>
              </a:rPr>
              <a:t>месяц 2018</a:t>
            </a:r>
          </a:p>
        </p:txBody>
      </p:sp>
    </p:spTree>
    <p:extLst>
      <p:ext uri="{BB962C8B-B14F-4D97-AF65-F5344CB8AC3E}">
        <p14:creationId xmlns:p14="http://schemas.microsoft.com/office/powerpoint/2010/main" val="256586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273478" y="2780928"/>
            <a:ext cx="867645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600" dirty="0">
                <a:solidFill>
                  <a:schemeClr val="tx2"/>
                </a:solidFill>
              </a:rPr>
              <a:t>Головной исполнитель  -  </a:t>
            </a:r>
            <a:r>
              <a:rPr lang="ru-RU" altLang="ru-RU" sz="1600" dirty="0" smtClean="0">
                <a:solidFill>
                  <a:schemeClr val="tx2"/>
                </a:solidFill>
              </a:rPr>
              <a:t>………………………………………….</a:t>
            </a:r>
            <a:endParaRPr lang="ru-RU" altLang="ru-RU" sz="1600" dirty="0">
              <a:solidFill>
                <a:schemeClr val="tx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0562" y="3389415"/>
            <a:ext cx="86307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b="1" dirty="0">
                <a:solidFill>
                  <a:schemeClr val="tx2"/>
                </a:solidFill>
              </a:rPr>
              <a:t>Соисполнители</a:t>
            </a:r>
            <a:r>
              <a:rPr lang="ru-RU" altLang="ru-RU" sz="1600" dirty="0" smtClean="0">
                <a:solidFill>
                  <a:schemeClr val="tx2"/>
                </a:solidFill>
              </a:rPr>
              <a:t>:</a:t>
            </a:r>
            <a:r>
              <a:rPr lang="ru-RU" altLang="ru-RU" sz="1600" dirty="0" smtClean="0"/>
              <a:t>  …………………………………………………..</a:t>
            </a:r>
            <a:endParaRPr lang="ru-RU" sz="1600" dirty="0"/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273478" y="4499704"/>
            <a:ext cx="799941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600" dirty="0">
                <a:solidFill>
                  <a:schemeClr val="tx2"/>
                </a:solidFill>
              </a:rPr>
              <a:t>Сроки </a:t>
            </a:r>
            <a:r>
              <a:rPr lang="ru-RU" altLang="ru-RU" sz="1600" dirty="0" smtClean="0">
                <a:solidFill>
                  <a:schemeClr val="tx2"/>
                </a:solidFill>
              </a:rPr>
              <a:t>выполнения:    </a:t>
            </a:r>
            <a:r>
              <a:rPr lang="ru-RU" altLang="ru-RU" sz="1600" b="0" dirty="0" smtClean="0">
                <a:solidFill>
                  <a:srgbClr val="000000"/>
                </a:solidFill>
              </a:rPr>
              <a:t>месяц 20.. </a:t>
            </a:r>
            <a:r>
              <a:rPr lang="ru-RU" altLang="ru-RU" sz="1600" b="0" dirty="0">
                <a:solidFill>
                  <a:srgbClr val="000000"/>
                </a:solidFill>
              </a:rPr>
              <a:t>г. – </a:t>
            </a:r>
            <a:r>
              <a:rPr lang="ru-RU" altLang="ru-RU" sz="1600" b="0" dirty="0" smtClean="0">
                <a:solidFill>
                  <a:srgbClr val="000000"/>
                </a:solidFill>
              </a:rPr>
              <a:t>месяц 20… </a:t>
            </a:r>
            <a:r>
              <a:rPr lang="ru-RU" altLang="ru-RU" sz="1600" b="0" dirty="0">
                <a:solidFill>
                  <a:srgbClr val="000000"/>
                </a:solidFill>
              </a:rPr>
              <a:t>г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87338" y="5073915"/>
            <a:ext cx="8450545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ru-RU" altLang="ru-RU" sz="1600" b="1" dirty="0">
                <a:solidFill>
                  <a:srgbClr val="000000"/>
                </a:solidFill>
                <a:latin typeface="Arial" charset="0"/>
              </a:rPr>
              <a:t>Объем финансирования </a:t>
            </a:r>
            <a:r>
              <a:rPr lang="ru-RU" altLang="ru-RU" sz="1600" b="1" dirty="0" smtClean="0">
                <a:solidFill>
                  <a:srgbClr val="000000"/>
                </a:solidFill>
                <a:latin typeface="Arial" charset="0"/>
              </a:rPr>
              <a:t>(федеральный бюджет) </a:t>
            </a:r>
            <a:r>
              <a:rPr lang="ru-RU" altLang="ru-RU" dirty="0">
                <a:solidFill>
                  <a:srgbClr val="000000"/>
                </a:solidFill>
              </a:rPr>
              <a:t>– </a:t>
            </a:r>
            <a:r>
              <a:rPr lang="ru-RU" altLang="ru-RU" dirty="0" smtClean="0">
                <a:solidFill>
                  <a:srgbClr val="000000"/>
                </a:solidFill>
              </a:rPr>
              <a:t>……. </a:t>
            </a:r>
            <a:r>
              <a:rPr lang="ru-RU" altLang="ru-RU" dirty="0">
                <a:solidFill>
                  <a:srgbClr val="000000"/>
                </a:solidFill>
              </a:rPr>
              <a:t>млн </a:t>
            </a:r>
            <a:r>
              <a:rPr lang="ru-RU" altLang="ru-RU" dirty="0" smtClean="0">
                <a:solidFill>
                  <a:srgbClr val="000000"/>
                </a:solidFill>
              </a:rPr>
              <a:t>руб.</a:t>
            </a:r>
            <a:endParaRPr lang="ru-RU" altLang="ru-RU" dirty="0">
              <a:solidFill>
                <a:srgbClr val="000000"/>
              </a:solidFill>
            </a:endParaRPr>
          </a:p>
          <a:p>
            <a:pPr>
              <a:spcBef>
                <a:spcPts val="300"/>
              </a:spcBef>
            </a:pPr>
            <a:r>
              <a:rPr lang="ru-RU" altLang="ru-RU" sz="1600" b="1" dirty="0">
                <a:solidFill>
                  <a:srgbClr val="000000"/>
                </a:solidFill>
                <a:latin typeface="Arial" charset="0"/>
              </a:rPr>
              <a:t>Внебюджетное финансирование </a:t>
            </a:r>
            <a:r>
              <a:rPr lang="ru-RU" altLang="ru-RU" dirty="0">
                <a:solidFill>
                  <a:srgbClr val="000000"/>
                </a:solidFill>
              </a:rPr>
              <a:t>–</a:t>
            </a:r>
            <a:r>
              <a:rPr lang="ru-RU" altLang="ru-RU" dirty="0" smtClean="0">
                <a:solidFill>
                  <a:srgbClr val="000000"/>
                </a:solidFill>
              </a:rPr>
              <a:t> ……млн руб.</a:t>
            </a:r>
            <a:endParaRPr lang="ru-RU" altLang="ru-RU" dirty="0">
              <a:solidFill>
                <a:srgbClr val="00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7602" y="1330222"/>
            <a:ext cx="86307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altLang="ru-RU" sz="1600" dirty="0">
                <a:solidFill>
                  <a:srgbClr val="000000"/>
                </a:solidFill>
                <a:latin typeface="Arial" charset="0"/>
              </a:rPr>
              <a:t>Технологическое направление №…  Название направления</a:t>
            </a:r>
            <a:endParaRPr lang="ru-RU" sz="16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535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251520" y="2996952"/>
            <a:ext cx="8640960" cy="155427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ОСНОВНЫЕ ЗАДАЧИ: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Перечисляются задачи, согласно ТЗ.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П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ри большом количестве задач, указываются только самые главные;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…………;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…………………</a:t>
            </a:r>
            <a:endParaRPr lang="ru-RU" sz="12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251520" y="1296543"/>
            <a:ext cx="8640960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ЦЕЛЬ РАБОТЫ</a:t>
            </a:r>
          </a:p>
          <a:p>
            <a:pPr algn="just">
              <a:spcAft>
                <a:spcPts val="600"/>
              </a:spcAft>
            </a:pPr>
            <a:r>
              <a:rPr lang="ru-RU" sz="1600" dirty="0" smtClean="0">
                <a:solidFill>
                  <a:srgbClr val="000000"/>
                </a:solidFill>
                <a:latin typeface="Arial" charset="0"/>
              </a:rPr>
              <a:t>Указывается цель работы, согласно ТЗ</a:t>
            </a:r>
            <a:endParaRPr lang="ru-RU" sz="1600" dirty="0">
              <a:solidFill>
                <a:srgbClr val="000000"/>
              </a:solidFill>
              <a:latin typeface="Arial" charset="0"/>
            </a:endParaRPr>
          </a:p>
          <a:p>
            <a:pPr algn="ctr">
              <a:spcAft>
                <a:spcPts val="600"/>
              </a:spcAft>
            </a:pPr>
            <a:endParaRPr lang="ru-RU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70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8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295941" y="1196752"/>
            <a:ext cx="8568952" cy="236988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ОСНОВНЫЕ ПРАКТИЧЕСКИЕ РЕЗУЛЬТАТЫ </a:t>
            </a:r>
            <a:endParaRPr lang="ru-RU" sz="1600" b="1" dirty="0">
              <a:solidFill>
                <a:srgbClr val="C00000"/>
              </a:solidFill>
              <a:latin typeface="Arial" charset="0"/>
            </a:endParaRP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Указываются полученные в рамках темы главные результаты, имеющие практическое применение.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Обязательны иллюстрации, демонстрирующие результаты (опытные образцы, макеты и т.д. При наличии только отчетов – фотографии отчетов.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Arial" charset="0"/>
              </a:rPr>
              <a:t>Если ОКР заканчивается опытным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образцом, необходимо указать Акт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об изготовлении опытного образца, Акт проведения приемочных испытаний опытного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образца.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Информация по результатам может занимать несколько слайдов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2" y="4159296"/>
            <a:ext cx="3240360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dirty="0" smtClean="0">
                <a:solidFill>
                  <a:schemeClr val="tx2"/>
                </a:solidFill>
              </a:rPr>
              <a:t>Рисунки</a:t>
            </a:r>
            <a:endParaRPr lang="ru-RU" sz="16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017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8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323528" y="1296543"/>
            <a:ext cx="8568952" cy="187743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РЕЗУЛЬТАТЫ НАУЧНО-ТЕХНИЧЕСКОЙ ДЕЯТЕЛЬНОСТИ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Указываются все РНТД, полученные в рамках реализации темы: изобретение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, полезная модель, промышленные образцы, программа для ЭВМ, база данных, секреты производства (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ноу-хау)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Рядом с названием РНТД в скобках указывается правообладатель и стадия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оформления документов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.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670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8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323528" y="1137697"/>
            <a:ext cx="8568952" cy="107721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ОТЧЕТНЫЕ МАТЕРИАЛЫ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Перечисляются отчетные материалы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  <a:p>
            <a:pPr algn="ctr">
              <a:spcBef>
                <a:spcPts val="600"/>
              </a:spcBef>
            </a:pPr>
            <a:endParaRPr lang="ru-RU" sz="1200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287338" y="5751000"/>
            <a:ext cx="8560318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Оценка технико-экономической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эффективности использования результатов работ по теме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(показать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ожидаемый экономический эффект на фоне объема затраченных по Программе бюджетных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средств)</a:t>
            </a:r>
            <a:endParaRPr lang="ru-RU" sz="1200" dirty="0" smtClean="0"/>
          </a:p>
        </p:txBody>
      </p:sp>
      <p:sp>
        <p:nvSpPr>
          <p:cNvPr id="6" name="Прямоугольник 5"/>
          <p:cNvSpPr/>
          <p:nvPr/>
        </p:nvSpPr>
        <p:spPr>
          <a:xfrm>
            <a:off x="213466" y="4077594"/>
            <a:ext cx="863256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tx2"/>
                </a:solidFill>
                <a:latin typeface="Arial" charset="0"/>
              </a:rPr>
              <a:t>Состояние внедрения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результатов темы (в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разработку или технологию более высокого уровня, типы (проекты) судов или другой морской техники, предприятие, реализующее внедрение, год, трансфер технологии в другую отрасль или вид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техники, причина не реализации). Потенциальные потребители указываются как можно более конкретные. Возможность замещения импорта.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3727628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Область применения и потенциальные </a:t>
            </a: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потребители:</a:t>
            </a:r>
            <a:endParaRPr lang="ru-RU" sz="1600" b="1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7337" y="5412446"/>
            <a:ext cx="857208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Эффективность использования результатов </a:t>
            </a: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работ:</a:t>
            </a:r>
            <a:endParaRPr lang="ru-RU" sz="1600" b="1" dirty="0">
              <a:solidFill>
                <a:srgbClr val="C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175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8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323528" y="1137697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</a:rPr>
              <a:t>ИТОГИ РАСМОТРЕНИЯ ЗАКРЫТИЯ ТЕМЫ НА РАБОЧЕЙ ГРУППЕ</a:t>
            </a:r>
            <a:endParaRPr lang="ru-RU" sz="1600" b="1" dirty="0">
              <a:solidFill>
                <a:srgbClr val="C00000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584740"/>
              </p:ext>
            </p:extLst>
          </p:nvPr>
        </p:nvGraphicFramePr>
        <p:xfrm>
          <a:off x="302838" y="1814805"/>
          <a:ext cx="8533719" cy="2777123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8533719"/>
              </a:tblGrid>
              <a:tr h="462067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Bef>
                          <a:spcPts val="600"/>
                        </a:spcBef>
                        <a:buClr>
                          <a:srgbClr val="C0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ответствие результатов работы техническому заданию</a:t>
                      </a:r>
                      <a:endParaRPr lang="ru-RU" sz="16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Да/Нет, причины несоответствия</a:t>
                      </a:r>
                    </a:p>
                  </a:txBody>
                  <a:tcPr anchor="ctr"/>
                </a:tc>
              </a:tr>
              <a:tr h="709280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Bef>
                          <a:spcPts val="600"/>
                        </a:spcBef>
                        <a:buClr>
                          <a:srgbClr val="C0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Замечания и спорные вопросы, возникшие в процессе рассмотрения результатов темы</a:t>
                      </a:r>
                      <a:endParaRPr lang="ru-RU" sz="16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писываются замечания</a:t>
                      </a:r>
                      <a:endParaRPr lang="ru-RU" sz="1600" b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</a:tr>
              <a:tr h="493256">
                <a:tc>
                  <a:txBody>
                    <a:bodyPr/>
                    <a:lstStyle/>
                    <a:p>
                      <a:pPr marL="285750" indent="-285750">
                        <a:buClr>
                          <a:srgbClr val="C0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Решение рабочей группы (</a:t>
                      </a:r>
                      <a:r>
                        <a:rPr lang="ru-RU" sz="1600" b="1" smtClean="0">
                          <a:solidFill>
                            <a:srgbClr val="000000"/>
                          </a:solidFill>
                          <a:latin typeface="+mn-lt"/>
                        </a:rPr>
                        <a:t>последний этап)</a:t>
                      </a:r>
                      <a:endParaRPr lang="ru-RU" sz="1600" b="1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Закрытие темы принять/не принять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4147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pn_report" id="{F8D1C6A7-815E-4B1B-922D-DDF256B6FD24}" vid="{8AC31970-B314-4C23-B764-C3D4C7919476}"/>
    </a:ext>
  </a:extLst>
</a:theme>
</file>

<file path=ppt/theme/theme10.xml><?xml version="1.0" encoding="utf-8"?>
<a:theme xmlns:a="http://schemas.openxmlformats.org/drawingml/2006/main" name="7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0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2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2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800</TotalTime>
  <Words>379</Words>
  <Application>Microsoft Office PowerPoint</Application>
  <PresentationFormat>Экран (4:3)</PresentationFormat>
  <Paragraphs>52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6" baseType="lpstr">
      <vt:lpstr>11_gpn_report</vt:lpstr>
      <vt:lpstr>12_gpn_report</vt:lpstr>
      <vt:lpstr>Специальное оформление</vt:lpstr>
      <vt:lpstr>1_Специальное оформление</vt:lpstr>
      <vt:lpstr>2_Специальное оформление</vt:lpstr>
      <vt:lpstr>3_Специальное оформление</vt:lpstr>
      <vt:lpstr>4_Специальное оформление</vt:lpstr>
      <vt:lpstr>5_Специальное оформление</vt:lpstr>
      <vt:lpstr>6_Специальное оформление</vt:lpstr>
      <vt:lpstr>7_Специальное оформление</vt:lpstr>
      <vt:lpstr>8_Специальное оформление</vt:lpstr>
      <vt:lpstr>9_Специальное оформление</vt:lpstr>
      <vt:lpstr>10_Специальное оформление</vt:lpstr>
      <vt:lpstr>11_Специальное оформление</vt:lpstr>
      <vt:lpstr>12_Специальное оформление</vt:lpstr>
      <vt:lpstr>13_Специальное оформление</vt:lpstr>
      <vt:lpstr>14_Специальное оформление</vt:lpstr>
      <vt:lpstr>think-cell Slide</vt:lpstr>
      <vt:lpstr>Презентация PowerPoint</vt:lpstr>
      <vt:lpstr>Название организации</vt:lpstr>
      <vt:lpstr>НИР (ОКР) «……………………….»</vt:lpstr>
      <vt:lpstr>НИР (ОКР) «……………………….»</vt:lpstr>
      <vt:lpstr>НИР (ОКР) «……………………….»</vt:lpstr>
      <vt:lpstr>НИР (ОКР) «……………………….»</vt:lpstr>
      <vt:lpstr>НИР (ОКР) «……………………….»</vt:lpstr>
      <vt:lpstr>НИР (ОКР) «……………………….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Дарья</cp:lastModifiedBy>
  <cp:revision>384</cp:revision>
  <cp:lastPrinted>2016-07-26T07:23:50Z</cp:lastPrinted>
  <dcterms:created xsi:type="dcterms:W3CDTF">2016-02-27T11:59:56Z</dcterms:created>
  <dcterms:modified xsi:type="dcterms:W3CDTF">2022-12-15T06:18:00Z</dcterms:modified>
</cp:coreProperties>
</file>